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732" r:id="rId4"/>
    <p:sldMasterId id="2147483744" r:id="rId5"/>
    <p:sldMasterId id="2147483756" r:id="rId6"/>
    <p:sldMasterId id="2147483798" r:id="rId7"/>
    <p:sldMasterId id="2147483768" r:id="rId8"/>
    <p:sldMasterId id="2147483780" r:id="rId9"/>
    <p:sldMasterId id="2147483786" r:id="rId10"/>
    <p:sldMasterId id="2147483840" r:id="rId11"/>
  </p:sldMasterIdLst>
  <p:notesMasterIdLst>
    <p:notesMasterId r:id="rId36"/>
  </p:notesMasterIdLst>
  <p:sldIdLst>
    <p:sldId id="576" r:id="rId12"/>
    <p:sldId id="659" r:id="rId13"/>
    <p:sldId id="681" r:id="rId14"/>
    <p:sldId id="660" r:id="rId15"/>
    <p:sldId id="661" r:id="rId16"/>
    <p:sldId id="662" r:id="rId17"/>
    <p:sldId id="663" r:id="rId18"/>
    <p:sldId id="664" r:id="rId19"/>
    <p:sldId id="665" r:id="rId20"/>
    <p:sldId id="666" r:id="rId21"/>
    <p:sldId id="667" r:id="rId22"/>
    <p:sldId id="668" r:id="rId23"/>
    <p:sldId id="669" r:id="rId24"/>
    <p:sldId id="670" r:id="rId25"/>
    <p:sldId id="671" r:id="rId26"/>
    <p:sldId id="672" r:id="rId27"/>
    <p:sldId id="673" r:id="rId28"/>
    <p:sldId id="674" r:id="rId29"/>
    <p:sldId id="675" r:id="rId30"/>
    <p:sldId id="676" r:id="rId31"/>
    <p:sldId id="677" r:id="rId32"/>
    <p:sldId id="678" r:id="rId33"/>
    <p:sldId id="679" r:id="rId34"/>
    <p:sldId id="680" r:id="rId35"/>
  </p:sldIdLst>
  <p:sldSz cx="9144000" cy="5143500" type="screen16x9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1pPr>
    <a:lvl2pPr marL="411480" algn="l" rtl="0" eaLnBrk="0" fontAlgn="base" hangingPunct="0">
      <a:spcBef>
        <a:spcPct val="0"/>
      </a:spcBef>
      <a:spcAft>
        <a:spcPct val="0"/>
      </a:spcAft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2pPr>
    <a:lvl3pPr marL="822960" algn="l" rtl="0" eaLnBrk="0" fontAlgn="base" hangingPunct="0">
      <a:spcBef>
        <a:spcPct val="0"/>
      </a:spcBef>
      <a:spcAft>
        <a:spcPct val="0"/>
      </a:spcAft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3pPr>
    <a:lvl4pPr marL="1234440" algn="l" rtl="0" eaLnBrk="0" fontAlgn="base" hangingPunct="0">
      <a:spcBef>
        <a:spcPct val="0"/>
      </a:spcBef>
      <a:spcAft>
        <a:spcPct val="0"/>
      </a:spcAft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4pPr>
    <a:lvl5pPr marL="1645920" algn="l" rtl="0" eaLnBrk="0" fontAlgn="base" hangingPunct="0">
      <a:spcBef>
        <a:spcPct val="0"/>
      </a:spcBef>
      <a:spcAft>
        <a:spcPct val="0"/>
      </a:spcAft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5pPr>
    <a:lvl6pPr marL="2057400" algn="l" defTabSz="822960" rtl="0" eaLnBrk="1" latinLnBrk="0" hangingPunct="1"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6pPr>
    <a:lvl7pPr marL="2468880" algn="l" defTabSz="822960" rtl="0" eaLnBrk="1" latinLnBrk="0" hangingPunct="1"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7pPr>
    <a:lvl8pPr marL="2880360" algn="l" defTabSz="822960" rtl="0" eaLnBrk="1" latinLnBrk="0" hangingPunct="1"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8pPr>
    <a:lvl9pPr marL="3291840" algn="l" defTabSz="822960" rtl="0" eaLnBrk="1" latinLnBrk="0" hangingPunct="1">
      <a:defRPr sz="1980" kern="1200">
        <a:solidFill>
          <a:srgbClr val="292C1F"/>
        </a:solidFill>
        <a:latin typeface="Optima" charset="0"/>
        <a:ea typeface="Heiti SC Light" charset="0"/>
        <a:cs typeface="Heiti SC Light" charset="0"/>
        <a:sym typeface="Optima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AEED7CAD-C459-5A4A-BA34-0350B4C772D9}">
          <p14:sldIdLst>
            <p14:sldId id="576"/>
            <p14:sldId id="659"/>
            <p14:sldId id="681"/>
            <p14:sldId id="660"/>
            <p14:sldId id="661"/>
            <p14:sldId id="662"/>
            <p14:sldId id="663"/>
            <p14:sldId id="664"/>
            <p14:sldId id="665"/>
            <p14:sldId id="666"/>
            <p14:sldId id="667"/>
            <p14:sldId id="668"/>
            <p14:sldId id="669"/>
            <p14:sldId id="670"/>
            <p14:sldId id="671"/>
            <p14:sldId id="672"/>
            <p14:sldId id="673"/>
            <p14:sldId id="674"/>
            <p14:sldId id="675"/>
            <p14:sldId id="676"/>
            <p14:sldId id="677"/>
            <p14:sldId id="678"/>
            <p14:sldId id="679"/>
            <p14:sldId id="68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49" userDrawn="1">
          <p15:clr>
            <a:srgbClr val="A4A3A4"/>
          </p15:clr>
        </p15:guide>
        <p15:guide id="2" orient="horz" pos="962" userDrawn="1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88497"/>
    <a:srgbClr val="292C1F"/>
    <a:srgbClr val="595959"/>
    <a:srgbClr val="7F7F7F"/>
    <a:srgbClr val="3299CC"/>
    <a:srgbClr val="4BA6DB"/>
    <a:srgbClr val="3FABDA"/>
    <a:srgbClr val="F12376"/>
    <a:srgbClr val="DD42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69" autoAdjust="0"/>
    <p:restoredTop sz="86453" autoAdjust="0"/>
  </p:normalViewPr>
  <p:slideViewPr>
    <p:cSldViewPr snapToGrid="0">
      <p:cViewPr varScale="1">
        <p:scale>
          <a:sx n="103" d="100"/>
          <a:sy n="103" d="100"/>
        </p:scale>
        <p:origin x="1352" y="176"/>
      </p:cViewPr>
      <p:guideLst>
        <p:guide orient="horz" pos="3049"/>
        <p:guide orient="horz" pos="962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386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heme" Target="theme/theme1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277EF333-6BE9-4E2B-A607-681F5D57F078}" type="datetimeFigureOut">
              <a:rPr lang="en-GB"/>
              <a:pPr>
                <a:defRPr/>
              </a:pPr>
              <a:t>18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B4B0EE67-F018-424B-ACF6-481E9D2397B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47331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80" kern="1200">
        <a:solidFill>
          <a:schemeClr val="tx1"/>
        </a:solidFill>
        <a:latin typeface="+mn-lt"/>
        <a:ea typeface="+mn-ea"/>
        <a:cs typeface="+mn-cs"/>
      </a:defRPr>
    </a:lvl1pPr>
    <a:lvl2pPr marL="411480" algn="l" rtl="0" fontAlgn="base">
      <a:spcBef>
        <a:spcPct val="30000"/>
      </a:spcBef>
      <a:spcAft>
        <a:spcPct val="0"/>
      </a:spcAft>
      <a:defRPr sz="1080" kern="1200">
        <a:solidFill>
          <a:schemeClr val="tx1"/>
        </a:solidFill>
        <a:latin typeface="+mn-lt"/>
        <a:ea typeface="+mn-ea"/>
        <a:cs typeface="+mn-cs"/>
      </a:defRPr>
    </a:lvl2pPr>
    <a:lvl3pPr marL="822960" algn="l" rtl="0" fontAlgn="base">
      <a:spcBef>
        <a:spcPct val="30000"/>
      </a:spcBef>
      <a:spcAft>
        <a:spcPct val="0"/>
      </a:spcAft>
      <a:defRPr sz="1080" kern="1200">
        <a:solidFill>
          <a:schemeClr val="tx1"/>
        </a:solidFill>
        <a:latin typeface="+mn-lt"/>
        <a:ea typeface="+mn-ea"/>
        <a:cs typeface="+mn-cs"/>
      </a:defRPr>
    </a:lvl3pPr>
    <a:lvl4pPr marL="1234440" algn="l" rtl="0" fontAlgn="base">
      <a:spcBef>
        <a:spcPct val="30000"/>
      </a:spcBef>
      <a:spcAft>
        <a:spcPct val="0"/>
      </a:spcAft>
      <a:defRPr sz="1080" kern="1200">
        <a:solidFill>
          <a:schemeClr val="tx1"/>
        </a:solidFill>
        <a:latin typeface="+mn-lt"/>
        <a:ea typeface="+mn-ea"/>
        <a:cs typeface="+mn-cs"/>
      </a:defRPr>
    </a:lvl4pPr>
    <a:lvl5pPr marL="1645920" algn="l" rtl="0" fontAlgn="base">
      <a:spcBef>
        <a:spcPct val="30000"/>
      </a:spcBef>
      <a:spcAft>
        <a:spcPct val="0"/>
      </a:spcAft>
      <a:defRPr sz="1080" kern="1200">
        <a:solidFill>
          <a:schemeClr val="tx1"/>
        </a:solidFill>
        <a:latin typeface="+mn-lt"/>
        <a:ea typeface="+mn-ea"/>
        <a:cs typeface="+mn-cs"/>
      </a:defRPr>
    </a:lvl5pPr>
    <a:lvl6pPr marL="2057400" algn="l" defTabSz="822960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6pPr>
    <a:lvl7pPr marL="2468880" algn="l" defTabSz="822960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7pPr>
    <a:lvl8pPr marL="2880360" algn="l" defTabSz="822960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8pPr>
    <a:lvl9pPr marL="3291840" algn="l" defTabSz="822960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0619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8696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98281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2757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643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9091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0230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4088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9603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1038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316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75954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4085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05181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5056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58395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385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462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299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601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9413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84763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76952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B0EE67-F018-424B-ACF6-481E9D2397B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5027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2248"/>
            <a:ext cx="6858000" cy="1790582"/>
          </a:xfrm>
        </p:spPr>
        <p:txBody>
          <a:bodyPr anchor="b"/>
          <a:lstStyle>
            <a:lvl1pPr algn="ctr"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410"/>
            <a:ext cx="6858000" cy="1241941"/>
          </a:xfrm>
        </p:spPr>
        <p:txBody>
          <a:bodyPr/>
          <a:lstStyle>
            <a:lvl1pPr marL="0" indent="0" algn="ctr">
              <a:buNone/>
              <a:defRPr sz="1620"/>
            </a:lvl1pPr>
            <a:lvl2pPr marL="308610" indent="0" algn="ctr">
              <a:buNone/>
              <a:defRPr sz="1350"/>
            </a:lvl2pPr>
            <a:lvl3pPr marL="617220" indent="0" algn="ctr">
              <a:buNone/>
              <a:defRPr sz="1215"/>
            </a:lvl3pPr>
            <a:lvl4pPr marL="925830" indent="0" algn="ctr">
              <a:buNone/>
              <a:defRPr sz="1080"/>
            </a:lvl4pPr>
            <a:lvl5pPr marL="1234440" indent="0" algn="ctr">
              <a:buNone/>
              <a:defRPr sz="1080"/>
            </a:lvl5pPr>
            <a:lvl6pPr marL="1543050" indent="0" algn="ctr">
              <a:buNone/>
              <a:defRPr sz="1080"/>
            </a:lvl6pPr>
            <a:lvl7pPr marL="1851660" indent="0" algn="ctr">
              <a:buNone/>
              <a:defRPr sz="1080"/>
            </a:lvl7pPr>
            <a:lvl8pPr marL="2160270" indent="0" algn="ctr">
              <a:buNone/>
              <a:defRPr sz="1080"/>
            </a:lvl8pPr>
            <a:lvl9pPr marL="2468880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62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507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4321"/>
            <a:ext cx="1971675" cy="435804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4321"/>
            <a:ext cx="5777865" cy="435804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8215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2248"/>
            <a:ext cx="6858000" cy="1790582"/>
          </a:xfrm>
        </p:spPr>
        <p:txBody>
          <a:bodyPr anchor="b"/>
          <a:lstStyle>
            <a:lvl1pPr algn="ctr"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410"/>
            <a:ext cx="6858000" cy="1241941"/>
          </a:xfrm>
        </p:spPr>
        <p:txBody>
          <a:bodyPr/>
          <a:lstStyle>
            <a:lvl1pPr marL="0" indent="0" algn="ctr">
              <a:buNone/>
              <a:defRPr sz="1620"/>
            </a:lvl1pPr>
            <a:lvl2pPr marL="308610" indent="0" algn="ctr">
              <a:buNone/>
              <a:defRPr sz="1350"/>
            </a:lvl2pPr>
            <a:lvl3pPr marL="617220" indent="0" algn="ctr">
              <a:buNone/>
              <a:defRPr sz="1215"/>
            </a:lvl3pPr>
            <a:lvl4pPr marL="925830" indent="0" algn="ctr">
              <a:buNone/>
              <a:defRPr sz="1080"/>
            </a:lvl4pPr>
            <a:lvl5pPr marL="1234440" indent="0" algn="ctr">
              <a:buNone/>
              <a:defRPr sz="1080"/>
            </a:lvl5pPr>
            <a:lvl6pPr marL="1543050" indent="0" algn="ctr">
              <a:buNone/>
              <a:defRPr sz="1080"/>
            </a:lvl6pPr>
            <a:lvl7pPr marL="1851660" indent="0" algn="ctr">
              <a:buNone/>
              <a:defRPr sz="1080"/>
            </a:lvl7pPr>
            <a:lvl8pPr marL="2160270" indent="0" algn="ctr">
              <a:buNone/>
              <a:defRPr sz="1080"/>
            </a:lvl8pPr>
            <a:lvl9pPr marL="2468880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2869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193263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364" y="1282661"/>
            <a:ext cx="7886700" cy="2138839"/>
          </a:xfrm>
        </p:spPr>
        <p:txBody>
          <a:bodyPr anchor="b"/>
          <a:lstStyle>
            <a:lvl1pPr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364" y="3441859"/>
            <a:ext cx="7886700" cy="1125141"/>
          </a:xfrm>
        </p:spPr>
        <p:txBody>
          <a:bodyPr/>
          <a:lstStyle>
            <a:lvl1pPr marL="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9011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457"/>
            <a:ext cx="3874770" cy="32629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80" y="1369457"/>
            <a:ext cx="3874770" cy="32629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4087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274320"/>
            <a:ext cx="7886700" cy="9933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079" y="1261229"/>
            <a:ext cx="3867626" cy="617220"/>
          </a:xfrm>
        </p:spPr>
        <p:txBody>
          <a:bodyPr anchor="b"/>
          <a:lstStyle>
            <a:lvl1pPr marL="0" indent="0">
              <a:buNone/>
              <a:defRPr sz="1620" b="1"/>
            </a:lvl1pPr>
            <a:lvl2pPr marL="308610" indent="0">
              <a:buNone/>
              <a:defRPr sz="1350" b="1"/>
            </a:lvl2pPr>
            <a:lvl3pPr marL="617220" indent="0">
              <a:buNone/>
              <a:defRPr sz="1215" b="1"/>
            </a:lvl3pPr>
            <a:lvl4pPr marL="925830" indent="0">
              <a:buNone/>
              <a:defRPr sz="1080" b="1"/>
            </a:lvl4pPr>
            <a:lvl5pPr marL="1234440" indent="0">
              <a:buNone/>
              <a:defRPr sz="1080" b="1"/>
            </a:lvl5pPr>
            <a:lvl6pPr marL="1543050" indent="0">
              <a:buNone/>
              <a:defRPr sz="1080" b="1"/>
            </a:lvl6pPr>
            <a:lvl7pPr marL="1851660" indent="0">
              <a:buNone/>
              <a:defRPr sz="1080" b="1"/>
            </a:lvl7pPr>
            <a:lvl8pPr marL="2160270" indent="0">
              <a:buNone/>
              <a:defRPr sz="1080" b="1"/>
            </a:lvl8pPr>
            <a:lvl9pPr marL="2468880" indent="0">
              <a:buNone/>
              <a:defRPr sz="108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079" y="1878449"/>
            <a:ext cx="3867626" cy="27635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1229"/>
            <a:ext cx="3887629" cy="617220"/>
          </a:xfrm>
        </p:spPr>
        <p:txBody>
          <a:bodyPr anchor="b"/>
          <a:lstStyle>
            <a:lvl1pPr marL="0" indent="0">
              <a:buNone/>
              <a:defRPr sz="1620" b="1"/>
            </a:lvl1pPr>
            <a:lvl2pPr marL="308610" indent="0">
              <a:buNone/>
              <a:defRPr sz="1350" b="1"/>
            </a:lvl2pPr>
            <a:lvl3pPr marL="617220" indent="0">
              <a:buNone/>
              <a:defRPr sz="1215" b="1"/>
            </a:lvl3pPr>
            <a:lvl4pPr marL="925830" indent="0">
              <a:buNone/>
              <a:defRPr sz="1080" b="1"/>
            </a:lvl4pPr>
            <a:lvl5pPr marL="1234440" indent="0">
              <a:buNone/>
              <a:defRPr sz="1080" b="1"/>
            </a:lvl5pPr>
            <a:lvl6pPr marL="1543050" indent="0">
              <a:buNone/>
              <a:defRPr sz="1080" b="1"/>
            </a:lvl6pPr>
            <a:lvl7pPr marL="1851660" indent="0">
              <a:buNone/>
              <a:defRPr sz="1080" b="1"/>
            </a:lvl7pPr>
            <a:lvl8pPr marL="2160270" indent="0">
              <a:buNone/>
              <a:defRPr sz="1080" b="1"/>
            </a:lvl8pPr>
            <a:lvl9pPr marL="2468880" indent="0">
              <a:buNone/>
              <a:defRPr sz="108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449"/>
            <a:ext cx="3887629" cy="27635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56073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8254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2527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342900"/>
            <a:ext cx="2948940" cy="1200150"/>
          </a:xfrm>
        </p:spPr>
        <p:txBody>
          <a:bodyPr anchor="b"/>
          <a:lstStyle>
            <a:lvl1pPr>
              <a:defRPr sz="21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629" y="740450"/>
            <a:ext cx="4629150" cy="3655100"/>
          </a:xfrm>
        </p:spPr>
        <p:txBody>
          <a:bodyPr/>
          <a:lstStyle>
            <a:lvl1pPr>
              <a:defRPr sz="2160"/>
            </a:lvl1pPr>
            <a:lvl2pPr>
              <a:defRPr sz="1890"/>
            </a:lvl2pPr>
            <a:lvl3pPr>
              <a:defRPr sz="162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079" y="1543050"/>
            <a:ext cx="2948940" cy="2858929"/>
          </a:xfrm>
        </p:spPr>
        <p:txBody>
          <a:bodyPr/>
          <a:lstStyle>
            <a:lvl1pPr marL="0" indent="0">
              <a:buNone/>
              <a:defRPr sz="108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3672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059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342900"/>
            <a:ext cx="2948940" cy="1200150"/>
          </a:xfrm>
        </p:spPr>
        <p:txBody>
          <a:bodyPr anchor="b"/>
          <a:lstStyle>
            <a:lvl1pPr>
              <a:defRPr sz="21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629" y="740450"/>
            <a:ext cx="4629150" cy="3655100"/>
          </a:xfrm>
        </p:spPr>
        <p:txBody>
          <a:bodyPr/>
          <a:lstStyle>
            <a:lvl1pPr marL="0" indent="0">
              <a:buNone/>
              <a:defRPr sz="2160"/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079" y="1543050"/>
            <a:ext cx="2948940" cy="2858929"/>
          </a:xfrm>
        </p:spPr>
        <p:txBody>
          <a:bodyPr/>
          <a:lstStyle>
            <a:lvl1pPr marL="0" indent="0">
              <a:buNone/>
              <a:defRPr sz="108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5127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385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4321"/>
            <a:ext cx="1971675" cy="435804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4321"/>
            <a:ext cx="5777865" cy="435804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32815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2248"/>
            <a:ext cx="6858000" cy="1790582"/>
          </a:xfrm>
          <a:prstGeom prst="rect">
            <a:avLst/>
          </a:prstGeom>
        </p:spPr>
        <p:txBody>
          <a:bodyPr anchor="b"/>
          <a:lstStyle>
            <a:lvl1pPr algn="ctr"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410"/>
            <a:ext cx="6858000" cy="12419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20"/>
            </a:lvl1pPr>
            <a:lvl2pPr marL="308610" indent="0" algn="ctr">
              <a:buNone/>
              <a:defRPr sz="1350"/>
            </a:lvl2pPr>
            <a:lvl3pPr marL="617220" indent="0" algn="ctr">
              <a:buNone/>
              <a:defRPr sz="1215"/>
            </a:lvl3pPr>
            <a:lvl4pPr marL="925830" indent="0" algn="ctr">
              <a:buNone/>
              <a:defRPr sz="1080"/>
            </a:lvl4pPr>
            <a:lvl5pPr marL="1234440" indent="0" algn="ctr">
              <a:buNone/>
              <a:defRPr sz="1080"/>
            </a:lvl5pPr>
            <a:lvl6pPr marL="1543050" indent="0" algn="ctr">
              <a:buNone/>
              <a:defRPr sz="1080"/>
            </a:lvl6pPr>
            <a:lvl7pPr marL="1851660" indent="0" algn="ctr">
              <a:buNone/>
              <a:defRPr sz="1080"/>
            </a:lvl7pPr>
            <a:lvl8pPr marL="2160270" indent="0" algn="ctr">
              <a:buNone/>
              <a:defRPr sz="1080"/>
            </a:lvl8pPr>
            <a:lvl9pPr marL="2468880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3666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320"/>
            <a:ext cx="7886700" cy="99333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457"/>
            <a:ext cx="7886700" cy="32629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0242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364" y="1282661"/>
            <a:ext cx="7886700" cy="2138839"/>
          </a:xfrm>
          <a:prstGeom prst="rect">
            <a:avLst/>
          </a:prstGeom>
        </p:spPr>
        <p:txBody>
          <a:bodyPr anchor="b"/>
          <a:lstStyle>
            <a:lvl1pPr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364" y="3441859"/>
            <a:ext cx="7886700" cy="11251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50293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320"/>
            <a:ext cx="7886700" cy="99333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457"/>
            <a:ext cx="3874770" cy="32629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80" y="1369457"/>
            <a:ext cx="3874770" cy="32629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34585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274320"/>
            <a:ext cx="7886700" cy="99333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079" y="1261229"/>
            <a:ext cx="3867626" cy="61722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20" b="1"/>
            </a:lvl1pPr>
            <a:lvl2pPr marL="308610" indent="0">
              <a:buNone/>
              <a:defRPr sz="1350" b="1"/>
            </a:lvl2pPr>
            <a:lvl3pPr marL="617220" indent="0">
              <a:buNone/>
              <a:defRPr sz="1215" b="1"/>
            </a:lvl3pPr>
            <a:lvl4pPr marL="925830" indent="0">
              <a:buNone/>
              <a:defRPr sz="1080" b="1"/>
            </a:lvl4pPr>
            <a:lvl5pPr marL="1234440" indent="0">
              <a:buNone/>
              <a:defRPr sz="1080" b="1"/>
            </a:lvl5pPr>
            <a:lvl6pPr marL="1543050" indent="0">
              <a:buNone/>
              <a:defRPr sz="1080" b="1"/>
            </a:lvl6pPr>
            <a:lvl7pPr marL="1851660" indent="0">
              <a:buNone/>
              <a:defRPr sz="1080" b="1"/>
            </a:lvl7pPr>
            <a:lvl8pPr marL="2160270" indent="0">
              <a:buNone/>
              <a:defRPr sz="1080" b="1"/>
            </a:lvl8pPr>
            <a:lvl9pPr marL="2468880" indent="0">
              <a:buNone/>
              <a:defRPr sz="108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079" y="1878449"/>
            <a:ext cx="3867626" cy="27635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1229"/>
            <a:ext cx="3887629" cy="61722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20" b="1"/>
            </a:lvl1pPr>
            <a:lvl2pPr marL="308610" indent="0">
              <a:buNone/>
              <a:defRPr sz="1350" b="1"/>
            </a:lvl2pPr>
            <a:lvl3pPr marL="617220" indent="0">
              <a:buNone/>
              <a:defRPr sz="1215" b="1"/>
            </a:lvl3pPr>
            <a:lvl4pPr marL="925830" indent="0">
              <a:buNone/>
              <a:defRPr sz="1080" b="1"/>
            </a:lvl4pPr>
            <a:lvl5pPr marL="1234440" indent="0">
              <a:buNone/>
              <a:defRPr sz="1080" b="1"/>
            </a:lvl5pPr>
            <a:lvl6pPr marL="1543050" indent="0">
              <a:buNone/>
              <a:defRPr sz="1080" b="1"/>
            </a:lvl6pPr>
            <a:lvl7pPr marL="1851660" indent="0">
              <a:buNone/>
              <a:defRPr sz="1080" b="1"/>
            </a:lvl7pPr>
            <a:lvl8pPr marL="2160270" indent="0">
              <a:buNone/>
              <a:defRPr sz="1080" b="1"/>
            </a:lvl8pPr>
            <a:lvl9pPr marL="2468880" indent="0">
              <a:buNone/>
              <a:defRPr sz="108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449"/>
            <a:ext cx="3887629" cy="27635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42969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320"/>
            <a:ext cx="7886700" cy="99333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95961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3154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364" y="1282661"/>
            <a:ext cx="7886700" cy="2138839"/>
          </a:xfrm>
        </p:spPr>
        <p:txBody>
          <a:bodyPr anchor="b"/>
          <a:lstStyle>
            <a:lvl1pPr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364" y="3441859"/>
            <a:ext cx="7886700" cy="1125141"/>
          </a:xfrm>
        </p:spPr>
        <p:txBody>
          <a:bodyPr/>
          <a:lstStyle>
            <a:lvl1pPr marL="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0231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342900"/>
            <a:ext cx="2948940" cy="1200150"/>
          </a:xfrm>
          <a:prstGeom prst="rect">
            <a:avLst/>
          </a:prstGeom>
        </p:spPr>
        <p:txBody>
          <a:bodyPr anchor="b"/>
          <a:lstStyle>
            <a:lvl1pPr>
              <a:defRPr sz="21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629" y="740450"/>
            <a:ext cx="4629150" cy="3655100"/>
          </a:xfrm>
          <a:prstGeom prst="rect">
            <a:avLst/>
          </a:prstGeom>
        </p:spPr>
        <p:txBody>
          <a:bodyPr/>
          <a:lstStyle>
            <a:lvl1pPr>
              <a:defRPr sz="2160"/>
            </a:lvl1pPr>
            <a:lvl2pPr>
              <a:defRPr sz="1890"/>
            </a:lvl2pPr>
            <a:lvl3pPr>
              <a:defRPr sz="162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079" y="1543050"/>
            <a:ext cx="2948940" cy="28589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8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832557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342900"/>
            <a:ext cx="2948940" cy="1200150"/>
          </a:xfrm>
          <a:prstGeom prst="rect">
            <a:avLst/>
          </a:prstGeom>
        </p:spPr>
        <p:txBody>
          <a:bodyPr anchor="b"/>
          <a:lstStyle>
            <a:lvl1pPr>
              <a:defRPr sz="21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629" y="740450"/>
            <a:ext cx="4629150" cy="365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60"/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079" y="1543050"/>
            <a:ext cx="2948940" cy="28589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8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51648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320"/>
            <a:ext cx="7886700" cy="99333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69457"/>
            <a:ext cx="7886700" cy="326290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20769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4321"/>
            <a:ext cx="1971675" cy="435804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4321"/>
            <a:ext cx="5777865" cy="435804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60084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3B092-A610-B84E-9FE3-7E0792773B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E8AE9F-7C49-D84F-B254-E888E16EF0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A3DA2F-AC6F-234E-A87D-1F4812AD4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1E7796-7D2D-5A4D-B3CE-6B7ABA4B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7D09E2-FA4C-9542-831C-75A8CE789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0503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08BAF-FA3F-9D44-9199-7ED5B40C1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18474D-EA54-3946-9B48-A96F34B5DB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82A67-EB06-324F-B27F-AE33BAFB5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CFDFDF-C83F-CF45-B68D-A8E5D01BC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6EE10-8109-7C40-9FC0-65F4A364E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1556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C2B2-B6D4-5D4A-B9C2-C59E1B35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FB784-D495-2548-82F1-7999C9250C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9ECD91-7A63-0149-9626-A65A9C983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DB70FB-8537-3643-95D0-34BAFFD48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C53EFF-0F09-4E4E-817A-AB6CEF467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5793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69C8F-B71E-C24F-93F4-186C3514B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F9526-8F81-2B4D-BB58-CABF80C5DC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9FB2F7-2926-C44E-A2C6-BFB4FBBF4E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F0EDE9-D149-FF40-B5A3-4058F545E3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565C82-AF0D-E34B-BF5A-49AC72D2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431121-F744-C04B-84F1-9EEB6B9D9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6815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7506C-2FD5-D94D-8B09-7B8821C9B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DA64B-7260-374D-B757-DE85BCD5F1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5FA82D-305B-8F4B-8E19-602FF0FB94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1DD69F-A28B-7E48-BFEC-B3E5C508E7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93B364-20F8-A148-9518-DF55CBD96C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074740-0DCF-FF42-A090-6FD41E5A4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AB0F64-9C8A-D34E-B4A8-1923594EF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297857-8437-484E-97B9-61C93876B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5369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BCA16D-9F7B-994F-93F8-EDC7E890B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0F3593-FA13-C14E-849A-A7DCED25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8B256D-F811-DA4B-9672-22559AD41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CB3141-F869-0140-BA4E-B847BE5FF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609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457"/>
            <a:ext cx="3874770" cy="3262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80" y="1369457"/>
            <a:ext cx="3874770" cy="3262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1444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4569A5-3FC7-B04D-96E2-E6975342F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0C4F48-C7AA-8A42-A288-26F6F441F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6681F-47BD-A947-BAE7-EB98950ED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0978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F6A613-8D6D-FD4D-AAE7-722C9B05D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FA4A9F-8E24-DD47-A24D-A013632E69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22739-AB76-BD44-B446-8D77D75E06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88F187-955A-ED4A-9E86-5C1036B00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F0B645-160C-6744-9B9C-AD0631223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0927D9-261C-B747-B35A-46C560834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828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D04D3-1DA7-B44D-ACA4-42C43768DD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4E9BB9-2AB8-594F-B241-2DEA120EA7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AAB7ED-17EF-F94F-9883-56AD248B8B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043232-43E9-FF4B-855C-88F54A7DF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52DEEB-C66A-2F4F-89AA-A854AB21C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0ED448-88FC-5C41-B201-98EA6FE3B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525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A0F5E5-F24E-9E4F-B5AB-38C783658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8FC747F-FF27-0F4B-A176-67C9B6F40B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A55424-1A35-2B49-A5AA-61E48B90B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18646A-C193-8940-BC3C-C73376B6E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F3D719-F4BA-4948-A8D4-FFEA4682F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0679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D68CAB-BABD-8A42-A4DE-DD8386A4A5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CB9B12-735A-4949-A561-FCE661CC90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41C1B9-B4C8-EB4F-8941-4052C939B5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2C9EF7-D396-884C-B538-6A533EEDED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ED951-ED9B-9241-BC12-D8DA24F4C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71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83E0D-7288-064C-833E-B458E9F73B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A36039-B4D7-0F4E-A6AF-4BB303CD95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857060-DB53-7C43-9E4C-6E30B1BB7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A0257B-9FAA-DC42-82B3-13501EB15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2D4900-A75A-1C45-82CF-BAFC299B6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9634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2756A-DFEA-604F-9B66-22C5ADCA8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04B4B-2284-E84C-AFF7-D006D4A148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EF5DB9-11DA-E24C-A96B-ADC53B871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123F0-14C9-E349-8E76-71E35E838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8B7667-7A32-0446-A94F-4AEDB78ECD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384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32B14-40B0-1A4A-8584-06BAF7387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E2D32F-1425-CD4D-856D-8009EB65B1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88FA4E-0483-464E-BB4E-5E06F8A7E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E9CF46-EE29-E547-86E1-7AEADD5D9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A23B8E-3228-7943-A7EA-4D4A7B8D3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621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915AC-B23C-CA43-8D56-F0372C4AE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5128BC-484E-9741-A84E-3EE043704F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5898CE-BECA-2A46-9250-86973BC23E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E4A065-2F98-3949-B47E-D02054A2F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EB147D-E155-1945-8A15-542048235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2FADC7-2441-AA4E-931B-772BD53D5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6675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C3F67-5218-4645-8DD3-6C8DF5D14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C61033-87DE-4F4F-96D2-43F35DC02F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0214EC-2D81-6341-B2D5-77B297FE3D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95719C-045B-EE43-B093-3CFDF73B1E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A63405-0BD9-0446-ADD8-54DD6486B8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E2BEC3-F174-5943-82D4-E2C680F9E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E50C2C1-CC4E-F647-A21F-446C95F67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B2791C-DFB5-CA4F-B6A1-1CB3BC67D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8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274320"/>
            <a:ext cx="7886700" cy="9933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079" y="1261229"/>
            <a:ext cx="3867626" cy="617220"/>
          </a:xfrm>
        </p:spPr>
        <p:txBody>
          <a:bodyPr anchor="b"/>
          <a:lstStyle>
            <a:lvl1pPr marL="0" indent="0">
              <a:buNone/>
              <a:defRPr sz="1620" b="1"/>
            </a:lvl1pPr>
            <a:lvl2pPr marL="308610" indent="0">
              <a:buNone/>
              <a:defRPr sz="1350" b="1"/>
            </a:lvl2pPr>
            <a:lvl3pPr marL="617220" indent="0">
              <a:buNone/>
              <a:defRPr sz="1215" b="1"/>
            </a:lvl3pPr>
            <a:lvl4pPr marL="925830" indent="0">
              <a:buNone/>
              <a:defRPr sz="1080" b="1"/>
            </a:lvl4pPr>
            <a:lvl5pPr marL="1234440" indent="0">
              <a:buNone/>
              <a:defRPr sz="1080" b="1"/>
            </a:lvl5pPr>
            <a:lvl6pPr marL="1543050" indent="0">
              <a:buNone/>
              <a:defRPr sz="1080" b="1"/>
            </a:lvl6pPr>
            <a:lvl7pPr marL="1851660" indent="0">
              <a:buNone/>
              <a:defRPr sz="1080" b="1"/>
            </a:lvl7pPr>
            <a:lvl8pPr marL="2160270" indent="0">
              <a:buNone/>
              <a:defRPr sz="1080" b="1"/>
            </a:lvl8pPr>
            <a:lvl9pPr marL="2468880" indent="0">
              <a:buNone/>
              <a:defRPr sz="10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079" y="1878449"/>
            <a:ext cx="3867626" cy="276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1229"/>
            <a:ext cx="3887629" cy="617220"/>
          </a:xfrm>
        </p:spPr>
        <p:txBody>
          <a:bodyPr anchor="b"/>
          <a:lstStyle>
            <a:lvl1pPr marL="0" indent="0">
              <a:buNone/>
              <a:defRPr sz="1620" b="1"/>
            </a:lvl1pPr>
            <a:lvl2pPr marL="308610" indent="0">
              <a:buNone/>
              <a:defRPr sz="1350" b="1"/>
            </a:lvl2pPr>
            <a:lvl3pPr marL="617220" indent="0">
              <a:buNone/>
              <a:defRPr sz="1215" b="1"/>
            </a:lvl3pPr>
            <a:lvl4pPr marL="925830" indent="0">
              <a:buNone/>
              <a:defRPr sz="1080" b="1"/>
            </a:lvl4pPr>
            <a:lvl5pPr marL="1234440" indent="0">
              <a:buNone/>
              <a:defRPr sz="1080" b="1"/>
            </a:lvl5pPr>
            <a:lvl6pPr marL="1543050" indent="0">
              <a:buNone/>
              <a:defRPr sz="1080" b="1"/>
            </a:lvl6pPr>
            <a:lvl7pPr marL="1851660" indent="0">
              <a:buNone/>
              <a:defRPr sz="1080" b="1"/>
            </a:lvl7pPr>
            <a:lvl8pPr marL="2160270" indent="0">
              <a:buNone/>
              <a:defRPr sz="1080" b="1"/>
            </a:lvl8pPr>
            <a:lvl9pPr marL="2468880" indent="0">
              <a:buNone/>
              <a:defRPr sz="10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449"/>
            <a:ext cx="3887629" cy="2763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5154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F8ABF6-556B-EB4B-BA04-B7947FB29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B78FC8-38F0-6346-A7BC-34B4E0047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11B95C-E2D5-1644-8FF7-4516C5BCB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DBC498-9041-044E-902B-9D1B4283C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8933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47044A-5C69-154F-B64C-B5169E767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3865D6-1AC2-A44D-9993-EC2F3AE89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7E130-4CF1-5740-83F9-5D0F65566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5087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276B1-673E-784D-976A-FA3BF94A6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C91525-9EA7-5B46-9A91-A31763AC2C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3626DE-55BE-CD47-A150-42F871EBC5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6BAB62-B409-2946-A3DC-BFD5E5D6C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93FA6B-C382-394A-BB08-04F4A6E86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755504-44F9-AE43-A90E-8E8FDBCCE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4745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A7CF3-FCAE-B64F-BFEC-569EE93A3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FBBD2B-426D-904A-A732-9BEB044052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44DE78-DB5E-5446-BF31-1745DB9385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D44E6C-05F5-9249-81FE-FC2C7BA58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DDCA87-B8A7-B04B-A251-316E5A07D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5E0D2B-AA14-2B44-B90D-D052D3242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9422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F29CE-F441-D243-8710-1BA282E93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99EA1A3-5369-0F4D-A883-492557BBA6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79A08-DDDF-DD4A-922F-6C9F7CAC0A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99E4C-E1B7-424B-852E-7CF7792D9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3C8C5-1895-5743-BBDF-8312AF9CD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8470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675106-D1F7-AB4C-874A-FED04A6905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AAC96C-264E-9A48-A28C-C35892BD56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843506-F550-D74F-AB2A-519BA384F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4712C-20B2-6140-B8B6-94F713BC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9895BD-8203-5F45-AF61-5E7844F99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0738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3862B0-2FE8-4DD6-9777-EDECF9B9C7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49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3074895-4027-4600-BF8E-7A5BBAEA166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/>
        </p:nvSpPr>
        <p:spPr bwMode="white">
          <a:xfrm>
            <a:off x="2127162" y="-1"/>
            <a:ext cx="7016838" cy="3036358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5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LogoImage"/>
          <p:cNvSpPr>
            <a:spLocks noEditPoints="1"/>
          </p:cNvSpPr>
          <p:nvPr/>
        </p:nvSpPr>
        <p:spPr bwMode="auto">
          <a:xfrm>
            <a:off x="2321276" y="143845"/>
            <a:ext cx="1665922" cy="182182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16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202975" y="4785834"/>
            <a:ext cx="67537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202976" y="4880042"/>
            <a:ext cx="286183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12" baseline="0" noProof="0">
                <a:solidFill>
                  <a:schemeClr val="bg1"/>
                </a:solidFill>
                <a:latin typeface="+mn-lt"/>
              </a:rPr>
              <a:t>Last Modified 05/11/2018 18:04 GMT Standard Time</a:t>
            </a:r>
            <a:endParaRPr lang="en-US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202976" y="4974252"/>
            <a:ext cx="271424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12" baseline="0" noProof="0">
                <a:solidFill>
                  <a:schemeClr val="bg1"/>
                </a:solidFill>
                <a:latin typeface="+mn-lt"/>
              </a:rPr>
              <a:t>Printed 05/11/2018 16:35 GMT Standard Time</a:t>
            </a:r>
            <a:endParaRPr lang="en-US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2314475" y="1097667"/>
            <a:ext cx="6607211" cy="37683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49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314475" y="2386825"/>
            <a:ext cx="6607211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5" y="2742784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71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128471" y="4785834"/>
            <a:ext cx="3918450" cy="274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1178111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03">
          <p15:clr>
            <a:srgbClr val="FBAE40"/>
          </p15:clr>
        </p15:guide>
        <p15:guide id="2" pos="734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12" smtClean="0">
                <a:solidFill>
                  <a:schemeClr val="accent6"/>
                </a:solidFill>
              </a:rPr>
              <a:pPr lvl="0"/>
              <a:t>‹#›</a:t>
            </a:fld>
            <a:endParaRPr lang="en-US" sz="612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866901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42"/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828325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39">
          <p15:clr>
            <a:srgbClr val="F26B43"/>
          </p15:clr>
        </p15:guide>
        <p15:guide id="2" pos="100">
          <p15:clr>
            <a:srgbClr val="F26B43"/>
          </p15:clr>
        </p15:guide>
        <p15:guide id="3" orient="horz" pos="181">
          <p15:clr>
            <a:srgbClr val="FBAE40"/>
          </p15:clr>
        </p15:guide>
        <p15:guide id="4" orient="horz" pos="533">
          <p15:clr>
            <a:srgbClr val="FBAE40"/>
          </p15:clr>
        </p15:guide>
        <p15:guide id="5" orient="horz" pos="391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c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2916" y="-485"/>
            <a:ext cx="9141570" cy="5141070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30998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00">
          <p15:clr>
            <a:srgbClr val="FBAE40"/>
          </p15:clr>
        </p15:guide>
        <p15:guide id="2" pos="7339">
          <p15:clr>
            <a:srgbClr val="FBAE40"/>
          </p15:clr>
        </p15:guide>
        <p15:guide id="3" orient="horz" pos="180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3919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77">
            <a:extLst>
              <a:ext uri="{FF2B5EF4-FFF2-40B4-BE49-F238E27FC236}">
                <a16:creationId xmlns:a16="http://schemas.microsoft.com/office/drawing/2014/main" id="{A22B7ED5-5776-44E5-85FF-130BD77BAD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40" y="-1"/>
            <a:ext cx="9132916" cy="5143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Rectangle"/>
          <p:cNvSpPr>
            <a:spLocks/>
          </p:cNvSpPr>
          <p:nvPr/>
        </p:nvSpPr>
        <p:spPr bwMode="white">
          <a:xfrm>
            <a:off x="2127162" y="-1"/>
            <a:ext cx="7016838" cy="3036358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5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LogoImage"/>
          <p:cNvSpPr>
            <a:spLocks noEditPoints="1"/>
          </p:cNvSpPr>
          <p:nvPr/>
        </p:nvSpPr>
        <p:spPr bwMode="auto">
          <a:xfrm>
            <a:off x="2321276" y="143845"/>
            <a:ext cx="1665922" cy="182182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2722" y="849501"/>
            <a:ext cx="2336569" cy="149071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16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202975" y="4785834"/>
            <a:ext cx="67537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202976" y="4880042"/>
            <a:ext cx="286183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12" baseline="0" noProof="0">
                <a:solidFill>
                  <a:schemeClr val="bg1"/>
                </a:solidFill>
                <a:latin typeface="+mn-lt"/>
              </a:rPr>
              <a:t>Last Modified 05/11/2018 18:04 GMT Standard Time</a:t>
            </a:r>
            <a:endParaRPr lang="en-US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202976" y="4974252"/>
            <a:ext cx="271424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12" baseline="0" noProof="0">
                <a:solidFill>
                  <a:schemeClr val="bg1"/>
                </a:solidFill>
                <a:latin typeface="+mn-lt"/>
              </a:rPr>
              <a:t>Printed 05/11/2018 16:35 GMT Standard Time</a:t>
            </a:r>
            <a:endParaRPr lang="en-US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2314475" y="1097667"/>
            <a:ext cx="6607211" cy="37683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49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314475" y="2386825"/>
            <a:ext cx="6607211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5" y="2742784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71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128471" y="4785834"/>
            <a:ext cx="3918450" cy="274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1970761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03">
          <p15:clr>
            <a:srgbClr val="FBAE40"/>
          </p15:clr>
        </p15:guide>
        <p15:guide id="2" pos="73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4483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A13FB-AFD1-479D-8680-6A662650D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35664D-257E-4993-B70F-FCC9485AD8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20891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65" indent="0" algn="ctr">
              <a:buNone/>
              <a:defRPr sz="1125"/>
            </a:lvl2pPr>
            <a:lvl3pPr marL="514330" indent="0" algn="ctr">
              <a:buNone/>
              <a:defRPr sz="1013"/>
            </a:lvl3pPr>
            <a:lvl4pPr marL="771494" indent="0" algn="ctr">
              <a:buNone/>
              <a:defRPr sz="900"/>
            </a:lvl4pPr>
            <a:lvl5pPr marL="1028659" indent="0" algn="ctr">
              <a:buNone/>
              <a:defRPr sz="900"/>
            </a:lvl5pPr>
            <a:lvl6pPr marL="1285824" indent="0" algn="ctr">
              <a:buNone/>
              <a:defRPr sz="900"/>
            </a:lvl6pPr>
            <a:lvl7pPr marL="1542989" indent="0" algn="ctr">
              <a:buNone/>
              <a:defRPr sz="900"/>
            </a:lvl7pPr>
            <a:lvl8pPr marL="1800153" indent="0" algn="ctr">
              <a:buNone/>
              <a:defRPr sz="900"/>
            </a:lvl8pPr>
            <a:lvl9pPr marL="2057318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18478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09816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6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3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494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65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24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298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153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318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66409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01366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65" indent="0">
              <a:buNone/>
              <a:defRPr sz="1125" b="1"/>
            </a:lvl2pPr>
            <a:lvl3pPr marL="514330" indent="0">
              <a:buNone/>
              <a:defRPr sz="1013" b="1"/>
            </a:lvl3pPr>
            <a:lvl4pPr marL="771494" indent="0">
              <a:buNone/>
              <a:defRPr sz="900" b="1"/>
            </a:lvl4pPr>
            <a:lvl5pPr marL="1028659" indent="0">
              <a:buNone/>
              <a:defRPr sz="900" b="1"/>
            </a:lvl5pPr>
            <a:lvl6pPr marL="1285824" indent="0">
              <a:buNone/>
              <a:defRPr sz="900" b="1"/>
            </a:lvl6pPr>
            <a:lvl7pPr marL="1542989" indent="0">
              <a:buNone/>
              <a:defRPr sz="900" b="1"/>
            </a:lvl7pPr>
            <a:lvl8pPr marL="1800153" indent="0">
              <a:buNone/>
              <a:defRPr sz="900" b="1"/>
            </a:lvl8pPr>
            <a:lvl9pPr marL="2057318" indent="0">
              <a:buNone/>
              <a:defRPr sz="9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7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65" indent="0">
              <a:buNone/>
              <a:defRPr sz="1125" b="1"/>
            </a:lvl2pPr>
            <a:lvl3pPr marL="514330" indent="0">
              <a:buNone/>
              <a:defRPr sz="1013" b="1"/>
            </a:lvl3pPr>
            <a:lvl4pPr marL="771494" indent="0">
              <a:buNone/>
              <a:defRPr sz="900" b="1"/>
            </a:lvl4pPr>
            <a:lvl5pPr marL="1028659" indent="0">
              <a:buNone/>
              <a:defRPr sz="900" b="1"/>
            </a:lvl5pPr>
            <a:lvl6pPr marL="1285824" indent="0">
              <a:buNone/>
              <a:defRPr sz="900" b="1"/>
            </a:lvl6pPr>
            <a:lvl7pPr marL="1542989" indent="0">
              <a:buNone/>
              <a:defRPr sz="900" b="1"/>
            </a:lvl7pPr>
            <a:lvl8pPr marL="1800153" indent="0">
              <a:buNone/>
              <a:defRPr sz="900" b="1"/>
            </a:lvl8pPr>
            <a:lvl9pPr marL="2057318" indent="0">
              <a:buNone/>
              <a:defRPr sz="9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7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62580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67430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24469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900"/>
            </a:lvl1pPr>
            <a:lvl2pPr marL="257165" indent="0">
              <a:buNone/>
              <a:defRPr sz="788"/>
            </a:lvl2pPr>
            <a:lvl3pPr marL="514330" indent="0">
              <a:buNone/>
              <a:defRPr sz="675"/>
            </a:lvl3pPr>
            <a:lvl4pPr marL="771494" indent="0">
              <a:buNone/>
              <a:defRPr sz="563"/>
            </a:lvl4pPr>
            <a:lvl5pPr marL="1028659" indent="0">
              <a:buNone/>
              <a:defRPr sz="563"/>
            </a:lvl5pPr>
            <a:lvl6pPr marL="1285824" indent="0">
              <a:buNone/>
              <a:defRPr sz="563"/>
            </a:lvl6pPr>
            <a:lvl7pPr marL="1542989" indent="0">
              <a:buNone/>
              <a:defRPr sz="563"/>
            </a:lvl7pPr>
            <a:lvl8pPr marL="1800153" indent="0">
              <a:buNone/>
              <a:defRPr sz="563"/>
            </a:lvl8pPr>
            <a:lvl9pPr marL="2057318" indent="0">
              <a:buNone/>
              <a:defRPr sz="56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52361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1800"/>
            </a:lvl1pPr>
            <a:lvl2pPr marL="257165" indent="0">
              <a:buNone/>
              <a:defRPr sz="1575"/>
            </a:lvl2pPr>
            <a:lvl3pPr marL="514330" indent="0">
              <a:buNone/>
              <a:defRPr sz="1350"/>
            </a:lvl3pPr>
            <a:lvl4pPr marL="771494" indent="0">
              <a:buNone/>
              <a:defRPr sz="1125"/>
            </a:lvl4pPr>
            <a:lvl5pPr marL="1028659" indent="0">
              <a:buNone/>
              <a:defRPr sz="1125"/>
            </a:lvl5pPr>
            <a:lvl6pPr marL="1285824" indent="0">
              <a:buNone/>
              <a:defRPr sz="1125"/>
            </a:lvl6pPr>
            <a:lvl7pPr marL="1542989" indent="0">
              <a:buNone/>
              <a:defRPr sz="1125"/>
            </a:lvl7pPr>
            <a:lvl8pPr marL="1800153" indent="0">
              <a:buNone/>
              <a:defRPr sz="1125"/>
            </a:lvl8pPr>
            <a:lvl9pPr marL="2057318" indent="0">
              <a:buNone/>
              <a:defRPr sz="112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900"/>
            </a:lvl1pPr>
            <a:lvl2pPr marL="257165" indent="0">
              <a:buNone/>
              <a:defRPr sz="788"/>
            </a:lvl2pPr>
            <a:lvl3pPr marL="514330" indent="0">
              <a:buNone/>
              <a:defRPr sz="675"/>
            </a:lvl3pPr>
            <a:lvl4pPr marL="771494" indent="0">
              <a:buNone/>
              <a:defRPr sz="563"/>
            </a:lvl4pPr>
            <a:lvl5pPr marL="1028659" indent="0">
              <a:buNone/>
              <a:defRPr sz="563"/>
            </a:lvl5pPr>
            <a:lvl6pPr marL="1285824" indent="0">
              <a:buNone/>
              <a:defRPr sz="563"/>
            </a:lvl6pPr>
            <a:lvl7pPr marL="1542989" indent="0">
              <a:buNone/>
              <a:defRPr sz="563"/>
            </a:lvl7pPr>
            <a:lvl8pPr marL="1800153" indent="0">
              <a:buNone/>
              <a:defRPr sz="563"/>
            </a:lvl8pPr>
            <a:lvl9pPr marL="2057318" indent="0">
              <a:buNone/>
              <a:defRPr sz="56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255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408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02118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28D7-C5E2-4A18-9EA4-2B2EB401E8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8/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90A51-F3CB-4E37-AC58-6F518F5648F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08671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7"/>
          <p:cNvSpPr/>
          <p:nvPr userDrawn="1"/>
        </p:nvSpPr>
        <p:spPr>
          <a:xfrm flipV="1">
            <a:off x="242982" y="4736740"/>
            <a:ext cx="8658037" cy="21991"/>
          </a:xfrm>
          <a:custGeom>
            <a:avLst/>
            <a:gdLst/>
            <a:ahLst/>
            <a:cxnLst/>
            <a:rect l="l" t="t" r="r" b="b"/>
            <a:pathLst>
              <a:path w="14040485">
                <a:moveTo>
                  <a:pt x="0" y="0"/>
                </a:moveTo>
                <a:lnTo>
                  <a:pt x="1404000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88" dirty="0"/>
          </a:p>
        </p:txBody>
      </p:sp>
      <p:sp>
        <p:nvSpPr>
          <p:cNvPr id="8" name="Holder 2"/>
          <p:cNvSpPr>
            <a:spLocks noGrp="1"/>
          </p:cNvSpPr>
          <p:nvPr>
            <p:ph type="title"/>
          </p:nvPr>
        </p:nvSpPr>
        <p:spPr>
          <a:xfrm>
            <a:off x="2811062" y="1186444"/>
            <a:ext cx="3521878" cy="3640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09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 dirty="0"/>
          </a:p>
        </p:txBody>
      </p:sp>
      <p:sp>
        <p:nvSpPr>
          <p:cNvPr id="9" name="Holder 4"/>
          <p:cNvSpPr>
            <a:spLocks noGrp="1"/>
          </p:cNvSpPr>
          <p:nvPr>
            <p:ph type="ftr" sz="quarter" idx="5"/>
          </p:nvPr>
        </p:nvSpPr>
        <p:spPr>
          <a:xfrm>
            <a:off x="7898880" y="4860050"/>
            <a:ext cx="1002138" cy="1209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86" b="0" i="0">
                <a:solidFill>
                  <a:schemeClr val="bg1"/>
                </a:solidFill>
                <a:latin typeface="KPF TheSans"/>
                <a:cs typeface="KPF TheSans"/>
              </a:defRPr>
            </a:lvl1pPr>
          </a:lstStyle>
          <a:p>
            <a:pPr marL="7677">
              <a:spcBef>
                <a:spcPts val="42"/>
              </a:spcBef>
            </a:pPr>
            <a:r>
              <a:rPr lang="en-GB"/>
              <a:t>Gtc Europe -</a:t>
            </a:r>
            <a:r>
              <a:rPr lang="en-GB" spc="-61"/>
              <a:t> </a:t>
            </a:r>
            <a:r>
              <a:rPr lang="en-GB"/>
              <a:t>2018</a:t>
            </a:r>
            <a:endParaRPr lang="en-GB" dirty="0"/>
          </a:p>
        </p:txBody>
      </p:sp>
      <p:pic>
        <p:nvPicPr>
          <p:cNvPr id="5" name="Shape 53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75968" y="4757150"/>
            <a:ext cx="246250" cy="2462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02877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older 4"/>
          <p:cNvSpPr>
            <a:spLocks noGrp="1"/>
          </p:cNvSpPr>
          <p:nvPr>
            <p:ph type="ftr" sz="quarter" idx="5"/>
          </p:nvPr>
        </p:nvSpPr>
        <p:spPr>
          <a:xfrm>
            <a:off x="7898880" y="4860050"/>
            <a:ext cx="1002138" cy="1209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86" b="0" i="0">
                <a:solidFill>
                  <a:schemeClr val="bg1"/>
                </a:solidFill>
                <a:latin typeface="KPF TheSans"/>
                <a:cs typeface="KPF TheSans"/>
              </a:defRPr>
            </a:lvl1pPr>
          </a:lstStyle>
          <a:p>
            <a:pPr marL="7677">
              <a:spcBef>
                <a:spcPts val="42"/>
              </a:spcBef>
            </a:pPr>
            <a:r>
              <a:rPr lang="en-GB"/>
              <a:t>Gtc Europe -</a:t>
            </a:r>
            <a:r>
              <a:rPr lang="en-GB" spc="-61"/>
              <a:t> </a:t>
            </a:r>
            <a:r>
              <a:rPr lang="en-GB"/>
              <a:t>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9341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Title and body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2608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342900"/>
            <a:ext cx="2948940" cy="1200150"/>
          </a:xfrm>
        </p:spPr>
        <p:txBody>
          <a:bodyPr anchor="b"/>
          <a:lstStyle>
            <a:lvl1pPr>
              <a:defRPr sz="21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629" y="740450"/>
            <a:ext cx="4629150" cy="3655100"/>
          </a:xfrm>
        </p:spPr>
        <p:txBody>
          <a:bodyPr/>
          <a:lstStyle>
            <a:lvl1pPr>
              <a:defRPr sz="2160"/>
            </a:lvl1pPr>
            <a:lvl2pPr>
              <a:defRPr sz="1890"/>
            </a:lvl2pPr>
            <a:lvl3pPr>
              <a:defRPr sz="162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079" y="1543050"/>
            <a:ext cx="2948940" cy="2858929"/>
          </a:xfrm>
        </p:spPr>
        <p:txBody>
          <a:bodyPr/>
          <a:lstStyle>
            <a:lvl1pPr marL="0" indent="0">
              <a:buNone/>
              <a:defRPr sz="108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677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79" y="342900"/>
            <a:ext cx="2948940" cy="1200150"/>
          </a:xfrm>
        </p:spPr>
        <p:txBody>
          <a:bodyPr anchor="b"/>
          <a:lstStyle>
            <a:lvl1pPr>
              <a:defRPr sz="21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629" y="740450"/>
            <a:ext cx="4629150" cy="3655100"/>
          </a:xfrm>
        </p:spPr>
        <p:txBody>
          <a:bodyPr/>
          <a:lstStyle>
            <a:lvl1pPr marL="0" indent="0">
              <a:buNone/>
              <a:defRPr sz="2160"/>
            </a:lvl1pPr>
            <a:lvl2pPr marL="308610" indent="0">
              <a:buNone/>
              <a:defRPr sz="1890"/>
            </a:lvl2pPr>
            <a:lvl3pPr marL="617220" indent="0">
              <a:buNone/>
              <a:defRPr sz="1620"/>
            </a:lvl3pPr>
            <a:lvl4pPr marL="925830" indent="0">
              <a:buNone/>
              <a:defRPr sz="1350"/>
            </a:lvl4pPr>
            <a:lvl5pPr marL="1234440" indent="0">
              <a:buNone/>
              <a:defRPr sz="1350"/>
            </a:lvl5pPr>
            <a:lvl6pPr marL="1543050" indent="0">
              <a:buNone/>
              <a:defRPr sz="1350"/>
            </a:lvl6pPr>
            <a:lvl7pPr marL="1851660" indent="0">
              <a:buNone/>
              <a:defRPr sz="1350"/>
            </a:lvl7pPr>
            <a:lvl8pPr marL="2160270" indent="0">
              <a:buNone/>
              <a:defRPr sz="1350"/>
            </a:lvl8pPr>
            <a:lvl9pPr marL="2468880" indent="0">
              <a:buNone/>
              <a:defRPr sz="135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079" y="1543050"/>
            <a:ext cx="2948940" cy="2858929"/>
          </a:xfrm>
        </p:spPr>
        <p:txBody>
          <a:bodyPr/>
          <a:lstStyle>
            <a:lvl1pPr marL="0" indent="0">
              <a:buNone/>
              <a:defRPr sz="1080"/>
            </a:lvl1pPr>
            <a:lvl2pPr marL="308610" indent="0">
              <a:buNone/>
              <a:defRPr sz="945"/>
            </a:lvl2pPr>
            <a:lvl3pPr marL="617220" indent="0">
              <a:buNone/>
              <a:defRPr sz="810"/>
            </a:lvl3pPr>
            <a:lvl4pPr marL="925830" indent="0">
              <a:buNone/>
              <a:defRPr sz="675"/>
            </a:lvl4pPr>
            <a:lvl5pPr marL="1234440" indent="0">
              <a:buNone/>
              <a:defRPr sz="675"/>
            </a:lvl5pPr>
            <a:lvl6pPr marL="1543050" indent="0">
              <a:buNone/>
              <a:defRPr sz="675"/>
            </a:lvl6pPr>
            <a:lvl7pPr marL="1851660" indent="0">
              <a:buNone/>
              <a:defRPr sz="675"/>
            </a:lvl7pPr>
            <a:lvl8pPr marL="2160270" indent="0">
              <a:buNone/>
              <a:defRPr sz="675"/>
            </a:lvl8pPr>
            <a:lvl9pPr marL="246888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767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320"/>
            <a:ext cx="7886700" cy="9933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457"/>
            <a:ext cx="7886700" cy="32629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79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320"/>
            <a:ext cx="7886700" cy="9933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457"/>
            <a:ext cx="7886700" cy="32629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382"/>
            <a:ext cx="2057400" cy="2732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A09265-0425-4E40-A69A-C76164556BF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382"/>
            <a:ext cx="3086100" cy="2732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382"/>
            <a:ext cx="2057400" cy="2732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BA4E9C-2138-7647-A6BF-5A38ABDCFA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34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870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5488">
          <p15:clr>
            <a:srgbClr val="F26B43"/>
          </p15:clr>
        </p15:guide>
        <p15:guide id="4" orient="horz" pos="2970">
          <p15:clr>
            <a:srgbClr val="F26B43"/>
          </p15:clr>
        </p15:guide>
        <p15:guide id="5" pos="272">
          <p15:clr>
            <a:srgbClr val="F26B43"/>
          </p15:clr>
        </p15:guide>
        <p15:guide id="6" orient="horz" pos="269">
          <p15:clr>
            <a:srgbClr val="F26B43"/>
          </p15:clr>
        </p15:guide>
        <p15:guide id="7" pos="3107">
          <p15:clr>
            <a:srgbClr val="F26B43"/>
          </p15:clr>
        </p15:guide>
        <p15:guide id="8" pos="2653">
          <p15:clr>
            <a:srgbClr val="F26B43"/>
          </p15:clr>
        </p15:guide>
        <p15:guide id="9" orient="horz" pos="1847">
          <p15:clr>
            <a:srgbClr val="F26B43"/>
          </p15:clr>
        </p15:guide>
        <p15:guide id="10" orient="horz" pos="1393">
          <p15:clr>
            <a:srgbClr val="F26B43"/>
          </p15:clr>
        </p15:guide>
        <p15:guide id="11" orient="horz" pos="25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A4E9F5-A315-954B-8857-83840D689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361F41-3B49-D848-8032-44FFC9289C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57EF62-7178-4E49-95E1-E005282685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0B08C-ABC6-A046-BAA0-114E1D18DEF2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BF9492-AFBC-7641-923F-DD8F3E3439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67B13F-4F8F-9F40-9725-05D40D6F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D16E0-29D0-FD4E-A6F3-59F27EA50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800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8D7034-6C96-D241-8E88-D5EEF8828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258E8-B97D-B640-B149-31EAF36FE8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4F6DE0-79A4-3A4C-982A-6B1CF4D277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1A417C-C93C-7A4F-A559-153729A63A4B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C4BCA-01BA-4544-A3BC-5D7FAD1ED6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52BAE4-9C63-AB4E-9CC0-62BA67749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D22EC0-9943-184F-8BB0-A8E209BA2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13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632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48500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459" baseline="0" noProof="0">
                <a:solidFill>
                  <a:schemeClr val="accent6"/>
                </a:solidFill>
                <a:latin typeface="+mn-lt"/>
                <a:ea typeface="+mn-ea"/>
              </a:rPr>
              <a:t>Last Modified 05/11/2018 18:04 GMT Standard Time</a:t>
            </a:r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477211" y="3148490"/>
            <a:ext cx="119103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459" baseline="0" noProof="0">
                <a:solidFill>
                  <a:schemeClr val="accent6"/>
                </a:solidFill>
                <a:latin typeface="+mn-lt"/>
                <a:ea typeface="+mn-ea"/>
              </a:rPr>
              <a:t>Printed 05/11/2018 16:35 GMT Standard Time</a:t>
            </a:r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0" y="176149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12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0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2284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97" indent="-65597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80366"/>
            <a:ext cx="761649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789" indent="-377789" defTabSz="913542">
              <a:tabLst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956403"/>
            <a:ext cx="4350891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46458" y="218666"/>
            <a:ext cx="369140" cy="121893"/>
            <a:chOff x="8379005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42">
                <a:buClr>
                  <a:schemeClr val="tx2"/>
                </a:buClr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5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5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41" y="213807"/>
            <a:ext cx="588711" cy="763239"/>
            <a:chOff x="7835905" y="279400"/>
            <a:chExt cx="769311" cy="997394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97" y="213806"/>
            <a:ext cx="824388" cy="559152"/>
            <a:chOff x="7540629" y="279400"/>
            <a:chExt cx="1077285" cy="730694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15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0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0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0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18" y="191940"/>
            <a:ext cx="639734" cy="999790"/>
            <a:chOff x="7769225" y="250825"/>
            <a:chExt cx="83598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15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84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4979804"/>
            <a:ext cx="34986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5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111568" y="1493262"/>
            <a:ext cx="3292180" cy="10096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772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</p:sldLayoutIdLst>
  <p:transition>
    <p:fade/>
  </p:transition>
  <p:hf hdr="0" ftr="0" dt="0"/>
  <p:txStyles>
    <p:titleStyle>
      <a:lvl1pPr algn="l" defTabSz="913542" rtl="0" eaLnBrk="1" fontAlgn="base" hangingPunct="1">
        <a:spcBef>
          <a:spcPct val="0"/>
        </a:spcBef>
        <a:spcAft>
          <a:spcPct val="0"/>
        </a:spcAft>
        <a:tabLst>
          <a:tab pos="27535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2pPr>
      <a:lvl3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3pPr>
      <a:lvl4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4pPr>
      <a:lvl5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5pPr>
      <a:lvl6pPr marL="46648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6pPr>
      <a:lvl7pPr marL="93297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7pPr>
      <a:lvl8pPr marL="139946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8pPr>
      <a:lvl9pPr marL="186595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55" indent="-14600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585" indent="-190076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1057" indent="-118453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982" indent="-9917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8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7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6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5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44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93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42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91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7E2AFD-616F-6C43-8CEB-08AC821CB7C3}" type="datetimeFigureOut">
              <a:rPr lang="en-US" smtClean="0"/>
              <a:t>11/1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2C81C-2990-F247-831D-D45F32E7C7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978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txStyles>
    <p:titleStyle>
      <a:lvl1pPr algn="l" defTabSz="51433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2" indent="-128582" algn="l" defTabSz="514330" rtl="0" eaLnBrk="1" latinLnBrk="0" hangingPunct="1">
        <a:lnSpc>
          <a:spcPct val="90000"/>
        </a:lnSpc>
        <a:spcBef>
          <a:spcPts val="563"/>
        </a:spcBef>
        <a:buFont typeface="Arial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47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2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77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41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06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71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35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00" indent="-128582" algn="l" defTabSz="51433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5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0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494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59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24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2989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53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18" algn="l" defTabSz="51433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 flipV="1">
            <a:off x="242982" y="4736740"/>
            <a:ext cx="8658037" cy="21991"/>
          </a:xfrm>
          <a:custGeom>
            <a:avLst/>
            <a:gdLst/>
            <a:ahLst/>
            <a:cxnLst/>
            <a:rect l="l" t="t" r="r" b="b"/>
            <a:pathLst>
              <a:path w="14040485">
                <a:moveTo>
                  <a:pt x="0" y="0"/>
                </a:moveTo>
                <a:lnTo>
                  <a:pt x="1404000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88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11062" y="1186443"/>
            <a:ext cx="352187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898880" y="4860050"/>
            <a:ext cx="1002138" cy="1209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86" b="0" i="0">
                <a:solidFill>
                  <a:schemeClr val="bg1"/>
                </a:solidFill>
                <a:latin typeface="KPF TheSans"/>
                <a:cs typeface="KPF TheSans"/>
              </a:defRPr>
            </a:lvl1pPr>
          </a:lstStyle>
          <a:p>
            <a:pPr marL="7677">
              <a:spcBef>
                <a:spcPts val="42"/>
              </a:spcBef>
            </a:pPr>
            <a:r>
              <a:rPr lang="en-GB"/>
              <a:t>Gtc Europe -</a:t>
            </a:r>
            <a:r>
              <a:rPr lang="en-GB" spc="-61"/>
              <a:t> </a:t>
            </a:r>
            <a:r>
              <a:rPr lang="en-GB"/>
              <a:t>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898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4" r:id="rId3"/>
  </p:sldLayoutIdLst>
  <p:txStyles>
    <p:titleStyle>
      <a:lvl1pPr algn="ctr"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6380">
        <a:defRPr>
          <a:latin typeface="+mn-lt"/>
          <a:ea typeface="+mn-ea"/>
          <a:cs typeface="+mn-cs"/>
        </a:defRPr>
      </a:lvl2pPr>
      <a:lvl3pPr marL="552761">
        <a:defRPr>
          <a:latin typeface="+mn-lt"/>
          <a:ea typeface="+mn-ea"/>
          <a:cs typeface="+mn-cs"/>
        </a:defRPr>
      </a:lvl3pPr>
      <a:lvl4pPr marL="829140">
        <a:defRPr>
          <a:latin typeface="+mn-lt"/>
          <a:ea typeface="+mn-ea"/>
          <a:cs typeface="+mn-cs"/>
        </a:defRPr>
      </a:lvl4pPr>
      <a:lvl5pPr marL="1105520">
        <a:defRPr>
          <a:latin typeface="+mn-lt"/>
          <a:ea typeface="+mn-ea"/>
          <a:cs typeface="+mn-cs"/>
        </a:defRPr>
      </a:lvl5pPr>
      <a:lvl6pPr marL="1381901">
        <a:defRPr>
          <a:latin typeface="+mn-lt"/>
          <a:ea typeface="+mn-ea"/>
          <a:cs typeface="+mn-cs"/>
        </a:defRPr>
      </a:lvl6pPr>
      <a:lvl7pPr marL="1658281">
        <a:defRPr>
          <a:latin typeface="+mn-lt"/>
          <a:ea typeface="+mn-ea"/>
          <a:cs typeface="+mn-cs"/>
        </a:defRPr>
      </a:lvl7pPr>
      <a:lvl8pPr marL="1934661">
        <a:defRPr>
          <a:latin typeface="+mn-lt"/>
          <a:ea typeface="+mn-ea"/>
          <a:cs typeface="+mn-cs"/>
        </a:defRPr>
      </a:lvl8pPr>
      <a:lvl9pPr marL="221104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6380">
        <a:defRPr>
          <a:latin typeface="+mn-lt"/>
          <a:ea typeface="+mn-ea"/>
          <a:cs typeface="+mn-cs"/>
        </a:defRPr>
      </a:lvl2pPr>
      <a:lvl3pPr marL="552761">
        <a:defRPr>
          <a:latin typeface="+mn-lt"/>
          <a:ea typeface="+mn-ea"/>
          <a:cs typeface="+mn-cs"/>
        </a:defRPr>
      </a:lvl3pPr>
      <a:lvl4pPr marL="829140">
        <a:defRPr>
          <a:latin typeface="+mn-lt"/>
          <a:ea typeface="+mn-ea"/>
          <a:cs typeface="+mn-cs"/>
        </a:defRPr>
      </a:lvl4pPr>
      <a:lvl5pPr marL="1105520">
        <a:defRPr>
          <a:latin typeface="+mn-lt"/>
          <a:ea typeface="+mn-ea"/>
          <a:cs typeface="+mn-cs"/>
        </a:defRPr>
      </a:lvl5pPr>
      <a:lvl6pPr marL="1381901">
        <a:defRPr>
          <a:latin typeface="+mn-lt"/>
          <a:ea typeface="+mn-ea"/>
          <a:cs typeface="+mn-cs"/>
        </a:defRPr>
      </a:lvl6pPr>
      <a:lvl7pPr marL="1658281">
        <a:defRPr>
          <a:latin typeface="+mn-lt"/>
          <a:ea typeface="+mn-ea"/>
          <a:cs typeface="+mn-cs"/>
        </a:defRPr>
      </a:lvl7pPr>
      <a:lvl8pPr marL="1934661">
        <a:defRPr>
          <a:latin typeface="+mn-lt"/>
          <a:ea typeface="+mn-ea"/>
          <a:cs typeface="+mn-cs"/>
        </a:defRPr>
      </a:lvl8pPr>
      <a:lvl9pPr marL="221104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8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0.jpg"/><Relationship Id="rId4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2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3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4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5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8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30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31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32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jpg"/><Relationship Id="rId5" Type="http://schemas.openxmlformats.org/officeDocument/2006/relationships/image" Target="../media/image21.jpg"/><Relationship Id="rId4" Type="http://schemas.openxmlformats.org/officeDocument/2006/relationships/image" Target="../media/image1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5294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2718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9259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2287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777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35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9918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6985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8947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1381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83429B-FB55-284B-BFC6-5F3D728E4D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78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395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83429B-FB55-284B-BFC6-5F3D728E4D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8358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83429B-FB55-284B-BFC6-5F3D728E4D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1619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83429B-FB55-284B-BFC6-5F3D728E4D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5492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83429B-FB55-284B-BFC6-5F3D728E4D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303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AEF7E-B0F1-F94E-840E-F304B05D3D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E7A044-EC1D-7143-ADB6-6FB9526FB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83429B-FB55-284B-BFC6-5F3D728E4D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445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26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25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566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775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83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807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33955E-BD57-964B-92CB-43D51CB4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31E4A6-047D-B34F-968C-81FA097E93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225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6b5mFhQTSlGSQMM_8Y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DD54ADD2-B89B-D845-937E-2A4D4C2DD368}" vid="{54B959FB-3F52-204C-A0D0-BD7A3EDBBAC9}"/>
    </a:ext>
  </a:extLst>
</a:theme>
</file>

<file path=ppt/theme/theme2.xml><?xml version="1.0" encoding="utf-8"?>
<a:theme xmlns:a="http://schemas.openxmlformats.org/drawingml/2006/main" name="Powerpoint_Centre for London Digital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Centre for London Digital2" id="{11F88C59-EF44-0942-93F6-2029E691DF96}" vid="{59209CA4-EDCC-1E47-8995-EDF1F0645784}"/>
    </a:ext>
  </a:extLst>
</a:theme>
</file>

<file path=ppt/theme/theme3.xml><?xml version="1.0" encoding="utf-8"?>
<a:theme xmlns:a="http://schemas.openxmlformats.org/drawingml/2006/main" name="1_Powerpoint_Centre for London Digital2">
  <a:themeElements>
    <a:clrScheme name="Centre for London Brand Colours - Digital">
      <a:dk1>
        <a:srgbClr val="1D2939"/>
      </a:dk1>
      <a:lt1>
        <a:srgbClr val="FFFFFF"/>
      </a:lt1>
      <a:dk2>
        <a:srgbClr val="0097D3"/>
      </a:dk2>
      <a:lt2>
        <a:srgbClr val="DCE4E8"/>
      </a:lt2>
      <a:accent1>
        <a:srgbClr val="5DD8F3"/>
      </a:accent1>
      <a:accent2>
        <a:srgbClr val="2AFDB7"/>
      </a:accent2>
      <a:accent3>
        <a:srgbClr val="FFD801"/>
      </a:accent3>
      <a:accent4>
        <a:srgbClr val="FE6501"/>
      </a:accent4>
      <a:accent5>
        <a:srgbClr val="FBFFFC"/>
      </a:accent5>
      <a:accent6>
        <a:srgbClr val="FFFFFF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Centre for London Digital2" id="{602EDE76-9178-DF46-9D11-CBAA5F7C9760}" vid="{F65305ED-1A82-8545-8E20-15CDBC08C1E3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Firm Format - template_Blue">
  <a:themeElements>
    <a:clrScheme name="MGI 2017">
      <a:dk1>
        <a:srgbClr val="000000"/>
      </a:dk1>
      <a:lt1>
        <a:srgbClr val="FFFFFF"/>
      </a:lt1>
      <a:dk2>
        <a:srgbClr val="333333"/>
      </a:dk2>
      <a:lt2>
        <a:srgbClr val="FEFEFE"/>
      </a:lt2>
      <a:accent1>
        <a:srgbClr val="C5C5C5"/>
      </a:accent1>
      <a:accent2>
        <a:srgbClr val="33BDF2"/>
      </a:accent2>
      <a:accent3>
        <a:srgbClr val="3485C6"/>
      </a:accent3>
      <a:accent4>
        <a:srgbClr val="333433"/>
      </a:accent4>
      <a:accent5>
        <a:srgbClr val="F27F00"/>
      </a:accent5>
      <a:accent6>
        <a:srgbClr val="808080"/>
      </a:accent6>
      <a:hlink>
        <a:srgbClr val="B5B38C"/>
      </a:hlink>
      <a:folHlink>
        <a:srgbClr val="00698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GI 2017">
        <a:dk1>
          <a:srgbClr val="000000"/>
        </a:dk1>
        <a:lt1>
          <a:srgbClr val="FFFFFF"/>
        </a:lt1>
        <a:dk2>
          <a:srgbClr val="333333"/>
        </a:dk2>
        <a:lt2>
          <a:srgbClr val="FEFEFE"/>
        </a:lt2>
        <a:accent1>
          <a:srgbClr val="C5C5C5"/>
        </a:accent1>
        <a:accent2>
          <a:srgbClr val="33BDF2"/>
        </a:accent2>
        <a:accent3>
          <a:srgbClr val="3485C6"/>
        </a:accent3>
        <a:accent4>
          <a:srgbClr val="333433"/>
        </a:accent4>
        <a:accent5>
          <a:srgbClr val="F27F00"/>
        </a:accent5>
        <a:accent6>
          <a:srgbClr val="808080"/>
        </a:accent6>
        <a:hlink>
          <a:srgbClr val="B5B38C"/>
        </a:hlink>
        <a:folHlink>
          <a:srgbClr val="00698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009AA6"/>
    </a:custClr>
    <a:custClr name="Apple">
      <a:srgbClr val="A2AD00"/>
    </a:custClr>
    <a:custClr name="Yellow">
      <a:srgbClr val="FFD000"/>
    </a:custClr>
    <a:custClr name="Red">
      <a:srgbClr val="CD202C"/>
    </a:custClr>
    <a:custClr name="Rust">
      <a:srgbClr val="B55F00"/>
    </a:custClr>
    <a:custClr name="Purple">
      <a:srgbClr val="66307C"/>
    </a:custClr>
    <a:custClr name="Ocean">
      <a:srgbClr val="0B79A3"/>
    </a:custClr>
    <a:custClr name="Dk ocean">
      <a:srgbClr val="1A4263"/>
    </a:custClr>
    <a:custClr name="Blue-gray">
      <a:srgbClr val="7D9AAA"/>
    </a:custClr>
    <a:custClr name="Lt gray">
      <a:srgbClr val="DDDDDD"/>
    </a:custClr>
  </a:custClrLst>
  <a:extLst>
    <a:ext uri="{05A4C25C-085E-4340-85A3-A5531E510DB2}">
      <thm15:themeFamily xmlns:thm15="http://schemas.microsoft.com/office/thememl/2012/main" name="MGI presentation 16x9_Aug2017.potx" id="{8BBE6EA2-A00F-43B3-98B0-5BCB12C0471A}" vid="{6FAF0131-DF66-47F2-B422-33F30F897616}"/>
    </a:ext>
  </a:extLst>
</a:theme>
</file>

<file path=ppt/theme/theme7.xml><?xml version="1.0" encoding="utf-8"?>
<a:theme xmlns:a="http://schemas.openxmlformats.org/drawingml/2006/main" name="1_CentreforLondon Theme">
  <a:themeElements>
    <a:clrScheme name="Centre for London Brand Colours - Digital">
      <a:dk1>
        <a:srgbClr val="1D2939"/>
      </a:dk1>
      <a:lt1>
        <a:srgbClr val="FFFFFF"/>
      </a:lt1>
      <a:dk2>
        <a:srgbClr val="0097D3"/>
      </a:dk2>
      <a:lt2>
        <a:srgbClr val="DCE4E8"/>
      </a:lt2>
      <a:accent1>
        <a:srgbClr val="5DD8F3"/>
      </a:accent1>
      <a:accent2>
        <a:srgbClr val="2AFDB7"/>
      </a:accent2>
      <a:accent3>
        <a:srgbClr val="FFD801"/>
      </a:accent3>
      <a:accent4>
        <a:srgbClr val="FE6501"/>
      </a:accent4>
      <a:accent5>
        <a:srgbClr val="FBFFFC"/>
      </a:accent5>
      <a:accent6>
        <a:srgbClr val="FFFFFF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DD54ADD2-B89B-D845-937E-2A4D4C2DD368}" vid="{E52F049D-379D-5447-AF70-7E3E97B0871A}"/>
    </a:ext>
  </a:extLst>
</a:theme>
</file>

<file path=ppt/theme/theme8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3070D0FE8DF144924F890100141ED3" ma:contentTypeVersion="10" ma:contentTypeDescription="Create a new document." ma:contentTypeScope="" ma:versionID="9d404f1a30f69aab7b182b639a2b548f">
  <xsd:schema xmlns:xsd="http://www.w3.org/2001/XMLSchema" xmlns:xs="http://www.w3.org/2001/XMLSchema" xmlns:p="http://schemas.microsoft.com/office/2006/metadata/properties" xmlns:ns2="48db5059-7e18-40d1-a56e-7970b636597a" xmlns:ns3="de92497c-30b8-4f3a-8f80-3aa39648063f" targetNamespace="http://schemas.microsoft.com/office/2006/metadata/properties" ma:root="true" ma:fieldsID="d2a6ba9793311db33af1da384c381d88" ns2:_="" ns3:_="">
    <xsd:import namespace="48db5059-7e18-40d1-a56e-7970b636597a"/>
    <xsd:import namespace="de92497c-30b8-4f3a-8f80-3aa3964806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db5059-7e18-40d1-a56e-7970b63659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92497c-30b8-4f3a-8f80-3aa39648063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e92497c-30b8-4f3a-8f80-3aa39648063f">
      <UserInfo>
        <DisplayName>Sam Blake</DisplayName>
        <AccountId>65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611E95B-90C9-4AD2-9717-3020B1E7E9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db5059-7e18-40d1-a56e-7970b636597a"/>
    <ds:schemaRef ds:uri="de92497c-30b8-4f3a-8f80-3aa3964806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E8A497D-FF64-4209-B9A7-624ECD51D6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47896B-E8C7-48C2-91E4-D875A589458E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dcmitype/"/>
    <ds:schemaRef ds:uri="http://schemas.microsoft.com/office/infopath/2007/PartnerControls"/>
    <ds:schemaRef ds:uri="de92497c-30b8-4f3a-8f80-3aa39648063f"/>
    <ds:schemaRef ds:uri="48db5059-7e18-40d1-a56e-7970b636597a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template_v1</Template>
  <TotalTime>2992</TotalTime>
  <Pages>0</Pages>
  <Words>24</Words>
  <Characters>0</Characters>
  <Application>Microsoft Macintosh PowerPoint</Application>
  <PresentationFormat>On-screen Show (16:9)</PresentationFormat>
  <Lines>0</Lines>
  <Paragraphs>24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8" baseType="lpstr">
      <vt:lpstr>Arial</vt:lpstr>
      <vt:lpstr>Calibri</vt:lpstr>
      <vt:lpstr>Calibri Light</vt:lpstr>
      <vt:lpstr>KPF TheSans</vt:lpstr>
      <vt:lpstr>Optima</vt:lpstr>
      <vt:lpstr>Custom Design</vt:lpstr>
      <vt:lpstr>Powerpoint_Centre for London Digital2</vt:lpstr>
      <vt:lpstr>1_Powerpoint_Centre for London Digital2</vt:lpstr>
      <vt:lpstr>2_Custom Design</vt:lpstr>
      <vt:lpstr>1_Custom Design</vt:lpstr>
      <vt:lpstr>Firm Format - template_Blue</vt:lpstr>
      <vt:lpstr>1_CentreforLondon Theme</vt:lpstr>
      <vt:lpstr>7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slide title   Subtitle of project/event/roundtable goes here </dc:title>
  <dc:subject/>
  <dc:creator>Microsoft Office User</dc:creator>
  <cp:keywords/>
  <dc:description/>
  <cp:lastModifiedBy>Megha Hirani</cp:lastModifiedBy>
  <cp:revision>251</cp:revision>
  <cp:lastPrinted>2018-07-03T17:22:31Z</cp:lastPrinted>
  <dcterms:created xsi:type="dcterms:W3CDTF">2017-10-06T13:49:14Z</dcterms:created>
  <dcterms:modified xsi:type="dcterms:W3CDTF">2019-11-18T08:51:2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3070D0FE8DF144924F890100141ED3</vt:lpwstr>
  </property>
</Properties>
</file>